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2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0-482E-BF90-BC3B6B5D5E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0-482E-BF90-BC3B6B5D5E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60-482E-BF90-BC3B6B5D5E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23673135"/>
        <c:axId val="323673615"/>
      </c:barChart>
      <c:catAx>
        <c:axId val="3236731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673615"/>
        <c:crosses val="autoZero"/>
        <c:auto val="1"/>
        <c:lblAlgn val="ctr"/>
        <c:lblOffset val="100"/>
        <c:noMultiLvlLbl val="0"/>
      </c:catAx>
      <c:valAx>
        <c:axId val="323673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6731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202A47-2186-C186-DC53-C2760173A7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E8C7AAC-4780-5856-870A-BEBFFB3933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8C7AAC-4780-5856-870A-BEBFFB393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8FCC5F7F-8478-304E-BF60-137BE086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Bar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DE9F1C2-CC0D-14D4-6BC6-0C85907D8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B3F8424-8370-4173-37C7-D0413E66F1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5C3B13E-6DB5-18D6-35A0-901FCD9162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10" name="Chart Placeholder 9">
            <a:extLst>
              <a:ext uri="{FF2B5EF4-FFF2-40B4-BE49-F238E27FC236}">
                <a16:creationId xmlns:a16="http://schemas.microsoft.com/office/drawing/2014/main" id="{4E7DDB38-EE34-0899-BE3C-11287DBD0BE7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0975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3</TotalTime>
  <Words>15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Bar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52</cp:revision>
  <dcterms:created xsi:type="dcterms:W3CDTF">2025-07-09T10:57:17Z</dcterms:created>
  <dcterms:modified xsi:type="dcterms:W3CDTF">2025-10-22T09:46:41Z</dcterms:modified>
  <cp:category/>
</cp:coreProperties>
</file>